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>
  <p:sldMasterIdLst>
    <p:sldMasterId id="2147483674" r:id="rId1"/>
  </p:sldMasterIdLst>
  <p:notesMasterIdLst>
    <p:notesMasterId r:id="rId21"/>
  </p:notesMasterIdLst>
  <p:handoutMasterIdLst>
    <p:handoutMasterId r:id="rId22"/>
  </p:handoutMasterIdLst>
  <p:sldIdLst>
    <p:sldId id="287" r:id="rId2"/>
    <p:sldId id="333" r:id="rId3"/>
    <p:sldId id="339" r:id="rId4"/>
    <p:sldId id="334" r:id="rId5"/>
    <p:sldId id="340" r:id="rId6"/>
    <p:sldId id="335" r:id="rId7"/>
    <p:sldId id="342" r:id="rId8"/>
    <p:sldId id="336" r:id="rId9"/>
    <p:sldId id="341" r:id="rId10"/>
    <p:sldId id="350" r:id="rId11"/>
    <p:sldId id="337" r:id="rId12"/>
    <p:sldId id="343" r:id="rId13"/>
    <p:sldId id="344" r:id="rId14"/>
    <p:sldId id="348" r:id="rId15"/>
    <p:sldId id="345" r:id="rId16"/>
    <p:sldId id="349" r:id="rId17"/>
    <p:sldId id="346" r:id="rId18"/>
    <p:sldId id="347" r:id="rId19"/>
    <p:sldId id="338" r:id="rId20"/>
  </p:sldIdLst>
  <p:sldSz cx="8961438" cy="6721475"/>
  <p:notesSz cx="7010400" cy="9296400"/>
  <p:custDataLst>
    <p:tags r:id="rId2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4" userDrawn="1">
          <p15:clr>
            <a:srgbClr val="A4A3A4"/>
          </p15:clr>
        </p15:guide>
        <p15:guide id="2" pos="2127" userDrawn="1">
          <p15:clr>
            <a:srgbClr val="A4A3A4"/>
          </p15:clr>
        </p15:guide>
        <p15:guide id="3" orient="horz" pos="1373" userDrawn="1">
          <p15:clr>
            <a:srgbClr val="A4A3A4"/>
          </p15:clr>
        </p15:guide>
        <p15:guide id="4" orient="horz" pos="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ura Holliday" initials="LH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39B"/>
    <a:srgbClr val="E2F2F4"/>
    <a:srgbClr val="B9DCE3"/>
    <a:srgbClr val="003C57"/>
    <a:srgbClr val="211F1E"/>
    <a:srgbClr val="335F80"/>
    <a:srgbClr val="C6E4EA"/>
    <a:srgbClr val="B6DAE1"/>
    <a:srgbClr val="00B4C1"/>
    <a:srgbClr val="A8A8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916" autoAdjust="0"/>
    <p:restoredTop sz="80324" autoAdjust="0"/>
  </p:normalViewPr>
  <p:slideViewPr>
    <p:cSldViewPr snapToGrid="0" snapToObjects="1">
      <p:cViewPr varScale="1">
        <p:scale>
          <a:sx n="90" d="100"/>
          <a:sy n="90" d="100"/>
        </p:scale>
        <p:origin x="2552" y="200"/>
      </p:cViewPr>
      <p:guideLst>
        <p:guide orient="horz" pos="4234"/>
        <p:guide pos="2127"/>
        <p:guide orient="horz" pos="1373"/>
        <p:guide orient="horz" pos="29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-6736"/>
    </p:cViewPr>
  </p:sorterViewPr>
  <p:notesViewPr>
    <p:cSldViewPr snapToGrid="0" snapToObjects="1">
      <p:cViewPr varScale="1">
        <p:scale>
          <a:sx n="88" d="100"/>
          <a:sy n="88" d="100"/>
        </p:scale>
        <p:origin x="3235" y="86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82638" y="582613"/>
            <a:ext cx="5451475" cy="409098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67699" y="4995326"/>
            <a:ext cx="597402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256224" y="8928490"/>
            <a:ext cx="55614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12304" y="95894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*While there are more interesting attributes I could use, these are the attributes that I can filter on it real time and action on tickets in real tim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3409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600" kern="120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  <a:p>
            <a:r>
              <a:rPr lang="en-US" sz="16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1. </a:t>
            </a:r>
            <a:r>
              <a:rPr lang="en-US" sz="1600" kern="120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gent_wait_time</a:t>
            </a:r>
            <a:r>
              <a:rPr lang="en-US" sz="16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 </a:t>
            </a:r>
          </a:p>
          <a:p>
            <a:r>
              <a:rPr lang="en-US" sz="16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2. </a:t>
            </a:r>
            <a:r>
              <a:rPr lang="en-US" sz="1600" kern="120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full_resolution_time</a:t>
            </a:r>
            <a:endParaRPr lang="en-US" sz="1600" kern="120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  <a:p>
            <a:r>
              <a:rPr lang="en-US" sz="16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3. </a:t>
            </a:r>
            <a:r>
              <a:rPr lang="en-US" sz="1600" kern="120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private_comments</a:t>
            </a:r>
            <a:endParaRPr lang="en-US" sz="1600" kern="120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  <a:p>
            <a:r>
              <a:rPr lang="en-US" sz="16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4. </a:t>
            </a:r>
            <a:r>
              <a:rPr lang="en-US" sz="1600" kern="120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public_comments</a:t>
            </a:r>
            <a:endParaRPr lang="en-US" sz="1600" kern="120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  <a:p>
            <a:r>
              <a:rPr lang="en-US" sz="16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5. reopens </a:t>
            </a:r>
          </a:p>
          <a:p>
            <a:r>
              <a:rPr lang="en-US" sz="16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6. replies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0977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68254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ccuracy was 82 and 84%</a:t>
            </a:r>
          </a:p>
          <a:p>
            <a:endParaRPr lang="en-US" dirty="0"/>
          </a:p>
          <a:p>
            <a:r>
              <a:rPr lang="en-US" dirty="0"/>
              <a:t>The model was much better about predicting the good tickets vs. predicting the bad tickets. The recall on predicting bad tickets wasn’t great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611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ption 1">
    <p:bg>
      <p:bgPr>
        <a:solidFill>
          <a:srgbClr val="E2F2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125" y="1957940"/>
            <a:ext cx="7773188" cy="306609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5918" y="506788"/>
            <a:ext cx="2269602" cy="13589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016126" y="5097463"/>
            <a:ext cx="4929187" cy="632777"/>
          </a:xfrm>
        </p:spPr>
        <p:txBody>
          <a:bodyPr/>
          <a:lstStyle>
            <a:lvl1pPr algn="ctr">
              <a:defRPr sz="4000"/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016126" y="5730240"/>
            <a:ext cx="4929187" cy="632777"/>
          </a:xfrm>
        </p:spPr>
        <p:txBody>
          <a:bodyPr>
            <a:normAutofit/>
          </a:bodyPr>
          <a:lstStyle>
            <a:lvl1pPr algn="ctr">
              <a:defRPr sz="2200"/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394235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63595" y="2721620"/>
            <a:ext cx="4073708" cy="632777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genda Item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563594" y="3399557"/>
            <a:ext cx="4073708" cy="632777"/>
          </a:xfrm>
        </p:spPr>
        <p:txBody>
          <a:bodyPr>
            <a:noAutofit/>
          </a:bodyPr>
          <a:lstStyle>
            <a:lvl1pPr algn="l">
              <a:defRPr sz="2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172" y="6215643"/>
            <a:ext cx="566847" cy="50583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7302" y="1524000"/>
            <a:ext cx="4019382" cy="4019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5989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63595" y="2721620"/>
            <a:ext cx="4073708" cy="632777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genda Item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563594" y="3399557"/>
            <a:ext cx="4073708" cy="632777"/>
          </a:xfrm>
        </p:spPr>
        <p:txBody>
          <a:bodyPr>
            <a:noAutofit/>
          </a:bodyPr>
          <a:lstStyle>
            <a:lvl1pPr algn="l">
              <a:defRPr sz="2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172" y="6215643"/>
            <a:ext cx="566847" cy="50583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7302" y="1399629"/>
            <a:ext cx="3999855" cy="3999855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0095" y="181997"/>
            <a:ext cx="3994168" cy="4229735"/>
          </a:xfrm>
          <a:prstGeom prst="rect">
            <a:avLst/>
          </a:prstGeom>
        </p:spPr>
      </p:pic>
      <p:sp>
        <p:nvSpPr>
          <p:cNvPr id="6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18053" y="3044349"/>
            <a:ext cx="4929187" cy="632777"/>
          </a:xfrm>
        </p:spPr>
        <p:txBody>
          <a:bodyPr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genda Item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118052" y="3722286"/>
            <a:ext cx="4929187" cy="632777"/>
          </a:xfrm>
        </p:spPr>
        <p:txBody>
          <a:bodyPr>
            <a:normAutofit/>
          </a:bodyPr>
          <a:lstStyle>
            <a:lvl1pPr algn="ctr"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172" y="6215643"/>
            <a:ext cx="566847" cy="505832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7240" y="1731783"/>
            <a:ext cx="3638105" cy="3885756"/>
          </a:xfrm>
          <a:prstGeom prst="rect">
            <a:avLst/>
          </a:prstGeom>
        </p:spPr>
      </p:pic>
      <p:sp>
        <p:nvSpPr>
          <p:cNvPr id="8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18053" y="3044349"/>
            <a:ext cx="4929187" cy="632777"/>
          </a:xfrm>
        </p:spPr>
        <p:txBody>
          <a:bodyPr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genda Item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118052" y="3722286"/>
            <a:ext cx="4929187" cy="632777"/>
          </a:xfrm>
        </p:spPr>
        <p:txBody>
          <a:bodyPr>
            <a:normAutofit/>
          </a:bodyPr>
          <a:lstStyle>
            <a:lvl1pPr algn="ctr"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172" y="6215643"/>
            <a:ext cx="566847" cy="505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4241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2996" y="1"/>
            <a:ext cx="4710861" cy="5118100"/>
          </a:xfrm>
          <a:prstGeom prst="rect">
            <a:avLst/>
          </a:prstGeom>
        </p:spPr>
      </p:pic>
      <p:sp>
        <p:nvSpPr>
          <p:cNvPr id="5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118053" y="3044349"/>
            <a:ext cx="4929187" cy="632777"/>
          </a:xfrm>
        </p:spPr>
        <p:txBody>
          <a:bodyPr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genda Item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18052" y="3722286"/>
            <a:ext cx="4929187" cy="632777"/>
          </a:xfrm>
        </p:spPr>
        <p:txBody>
          <a:bodyPr>
            <a:normAutofit/>
          </a:bodyPr>
          <a:lstStyle>
            <a:lvl1pPr algn="ctr"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172" y="6215643"/>
            <a:ext cx="566847" cy="505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7650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8304" y="2632740"/>
            <a:ext cx="3668163" cy="3928715"/>
          </a:xfrm>
          <a:prstGeom prst="rect">
            <a:avLst/>
          </a:prstGeom>
        </p:spPr>
      </p:pic>
      <p:sp>
        <p:nvSpPr>
          <p:cNvPr id="5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118053" y="3044349"/>
            <a:ext cx="4929187" cy="632777"/>
          </a:xfrm>
        </p:spPr>
        <p:txBody>
          <a:bodyPr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genda Item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18052" y="3722286"/>
            <a:ext cx="4929187" cy="632777"/>
          </a:xfrm>
        </p:spPr>
        <p:txBody>
          <a:bodyPr>
            <a:normAutofit/>
          </a:bodyPr>
          <a:lstStyle>
            <a:lvl1pPr algn="ctr"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172" y="6215643"/>
            <a:ext cx="566847" cy="505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2723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ption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5918" y="506788"/>
            <a:ext cx="2269602" cy="1358900"/>
          </a:xfrm>
          <a:prstGeom prst="rect">
            <a:avLst/>
          </a:prstGeom>
        </p:spPr>
      </p:pic>
      <p:sp>
        <p:nvSpPr>
          <p:cNvPr id="7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016126" y="2438083"/>
            <a:ext cx="4929187" cy="632777"/>
          </a:xfrm>
        </p:spPr>
        <p:txBody>
          <a:bodyPr/>
          <a:lstStyle>
            <a:lvl1pPr algn="ctr">
              <a:defRPr sz="4000"/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016126" y="3070860"/>
            <a:ext cx="4929187" cy="632777"/>
          </a:xfrm>
        </p:spPr>
        <p:txBody>
          <a:bodyPr>
            <a:normAutofit/>
          </a:bodyPr>
          <a:lstStyle>
            <a:lvl1pPr algn="ctr">
              <a:defRPr sz="2200"/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8564428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ption 3">
    <p:bg>
      <p:bgPr>
        <a:solidFill>
          <a:srgbClr val="003C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3300" y="1371600"/>
            <a:ext cx="3492500" cy="39624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374" y="1941945"/>
            <a:ext cx="1816544" cy="108763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18053" y="3594934"/>
            <a:ext cx="4929187" cy="632777"/>
          </a:xfrm>
        </p:spPr>
        <p:txBody>
          <a:bodyPr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118053" y="4227711"/>
            <a:ext cx="4929187" cy="632777"/>
          </a:xfrm>
        </p:spPr>
        <p:txBody>
          <a:bodyPr>
            <a:normAutofit/>
          </a:bodyPr>
          <a:lstStyle>
            <a:lvl1pPr algn="ctr"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1437248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ption 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626" y="1367036"/>
            <a:ext cx="3492500" cy="39624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374" y="1941945"/>
            <a:ext cx="1816544" cy="1087636"/>
          </a:xfrm>
          <a:prstGeom prst="rect">
            <a:avLst/>
          </a:prstGeom>
        </p:spPr>
      </p:pic>
      <p:sp>
        <p:nvSpPr>
          <p:cNvPr id="8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18053" y="3594934"/>
            <a:ext cx="4929187" cy="632777"/>
          </a:xfrm>
        </p:spPr>
        <p:txBody>
          <a:bodyPr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118053" y="4227711"/>
            <a:ext cx="4929187" cy="632777"/>
          </a:xfrm>
        </p:spPr>
        <p:txBody>
          <a:bodyPr>
            <a:normAutofit/>
          </a:bodyPr>
          <a:lstStyle>
            <a:lvl1pPr algn="ctr"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07666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ption 5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4498" y="338513"/>
            <a:ext cx="2269602" cy="1358900"/>
          </a:xfrm>
          <a:prstGeom prst="rect">
            <a:avLst/>
          </a:prstGeom>
        </p:spPr>
      </p:pic>
      <p:sp>
        <p:nvSpPr>
          <p:cNvPr id="6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016126" y="2001838"/>
            <a:ext cx="4929187" cy="632777"/>
          </a:xfrm>
        </p:spPr>
        <p:txBody>
          <a:bodyPr/>
          <a:lstStyle>
            <a:lvl1pPr algn="ctr">
              <a:defRPr sz="4000"/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016126" y="2634615"/>
            <a:ext cx="4929187" cy="632777"/>
          </a:xfrm>
        </p:spPr>
        <p:txBody>
          <a:bodyPr>
            <a:normAutofit/>
          </a:bodyPr>
          <a:lstStyle>
            <a:lvl1pPr algn="ctr">
              <a:defRPr sz="2200"/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3554177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1450" y="230532"/>
            <a:ext cx="8618537" cy="40011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headl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934B1-5BCF-4BE1-B35B-D0A97C9EC84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172" y="6215643"/>
            <a:ext cx="566847" cy="505832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923925" y="1441942"/>
            <a:ext cx="2981326" cy="3924300"/>
          </a:xfrm>
        </p:spPr>
        <p:txBody>
          <a:bodyPr/>
          <a:lstStyle>
            <a:lvl1pPr marL="342900" indent="-342900">
              <a:buClrTx/>
              <a:buFont typeface="Arial" panose="020B0604020202020204" pitchFamily="34" charset="0"/>
              <a:buChar char="•"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Agenda Item 1 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genda Item 2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genda Item 3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genda Item 4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genda Item 5			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172075" y="1441942"/>
            <a:ext cx="2981326" cy="3924300"/>
          </a:xfrm>
        </p:spPr>
        <p:txBody>
          <a:bodyPr/>
          <a:lstStyle>
            <a:lvl1pPr marL="0" marR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(# Minutes) 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(# Minutes) 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(# Minutes) 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(# Minutes) </a:t>
            </a:r>
          </a:p>
          <a:p>
            <a:pPr lvl="0"/>
            <a:endParaRPr lang="en-US" dirty="0"/>
          </a:p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(# Minutes) </a:t>
            </a:r>
          </a:p>
          <a:p>
            <a:pPr lvl="0"/>
            <a:r>
              <a:rPr lang="en-US" dirty="0"/>
              <a:t>			</a:t>
            </a:r>
          </a:p>
        </p:txBody>
      </p:sp>
    </p:spTree>
    <p:extLst>
      <p:ext uri="{BB962C8B-B14F-4D97-AF65-F5344CB8AC3E}">
        <p14:creationId xmlns:p14="http://schemas.microsoft.com/office/powerpoint/2010/main" val="21590607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934B1-5BCF-4BE1-B35B-D0A97C9EC84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172" y="6215643"/>
            <a:ext cx="566847" cy="505832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71450" y="230532"/>
            <a:ext cx="8618537" cy="40011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1548682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1450" y="230532"/>
            <a:ext cx="8618537" cy="40011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headli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934B1-5BCF-4BE1-B35B-D0A97C9EC84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172" y="6215643"/>
            <a:ext cx="566847" cy="505832"/>
          </a:xfrm>
          <a:prstGeom prst="rect">
            <a:avLst/>
          </a:prstGeom>
        </p:spPr>
      </p:pic>
      <p:sp>
        <p:nvSpPr>
          <p:cNvPr id="11" name="Chart Placeholder 10"/>
          <p:cNvSpPr>
            <a:spLocks noGrp="1"/>
          </p:cNvSpPr>
          <p:nvPr>
            <p:ph type="chart" sz="quarter" idx="11"/>
          </p:nvPr>
        </p:nvSpPr>
        <p:spPr>
          <a:xfrm>
            <a:off x="1414936" y="1762125"/>
            <a:ext cx="6448425" cy="3600450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9369321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63595" y="2721620"/>
            <a:ext cx="4073708" cy="632777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genda Item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563594" y="3399557"/>
            <a:ext cx="4073708" cy="632777"/>
          </a:xfrm>
        </p:spPr>
        <p:txBody>
          <a:bodyPr>
            <a:noAutofit/>
          </a:bodyPr>
          <a:lstStyle>
            <a:lvl1pPr algn="l">
              <a:defRPr sz="2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172" y="6215643"/>
            <a:ext cx="566847" cy="50583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3260" y="1321414"/>
            <a:ext cx="4156285" cy="4156285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26" Type="http://schemas.openxmlformats.org/officeDocument/2006/relationships/tags" Target="../tags/tag10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5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tags" Target="../tags/tag9.xml"/><Relationship Id="rId33" Type="http://schemas.openxmlformats.org/officeDocument/2006/relationships/tags" Target="../tags/tag17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4.xml"/><Relationship Id="rId29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8.xml"/><Relationship Id="rId32" Type="http://schemas.openxmlformats.org/officeDocument/2006/relationships/tags" Target="../tags/tag1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7.xml"/><Relationship Id="rId28" Type="http://schemas.openxmlformats.org/officeDocument/2006/relationships/tags" Target="../tags/tag1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31" Type="http://schemas.openxmlformats.org/officeDocument/2006/relationships/tags" Target="../tags/tag1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6.xml"/><Relationship Id="rId27" Type="http://schemas.openxmlformats.org/officeDocument/2006/relationships/tags" Target="../tags/tag11.xml"/><Relationship Id="rId30" Type="http://schemas.openxmlformats.org/officeDocument/2006/relationships/tags" Target="../tags/tag14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54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2"/>
          <p:cNvSpPr>
            <a:spLocks noGrp="1" noChangeAspect="1" noChangeArrowheads="1"/>
          </p:cNvSpPr>
          <p:nvPr>
            <p:ph type="title"/>
          </p:nvPr>
        </p:nvSpPr>
        <p:spPr bwMode="auto">
          <a:xfrm>
            <a:off x="171450" y="192432"/>
            <a:ext cx="8618537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here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2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77822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auto">
          <a:xfrm>
            <a:off x="1402389" y="6215071"/>
            <a:ext cx="7273828" cy="373063"/>
            <a:chOff x="75" y="3915"/>
            <a:chExt cx="5385" cy="23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15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3" y="1296458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3" name="Slide Number Placeholder 5"/>
          <p:cNvSpPr txBox="1">
            <a:spLocks/>
          </p:cNvSpPr>
          <p:nvPr userDrawn="1"/>
        </p:nvSpPr>
        <p:spPr bwMode="auto">
          <a:xfrm>
            <a:off x="7658778" y="6453171"/>
            <a:ext cx="107882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rgbClr val="57585E"/>
                </a:solidFill>
                <a:latin typeface="Museo Slab 500"/>
                <a:ea typeface="ヒラギノ角ゴ ProN W3" charset="-128"/>
                <a:cs typeface="Museo Slab 500"/>
                <a:sym typeface="Gill Sans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charset="0"/>
                <a:ea typeface="ヒラギノ角ゴ ProN W3" charset="-128"/>
                <a:cs typeface="+mn-cs"/>
                <a:sym typeface="Gill Sans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charset="0"/>
                <a:ea typeface="ヒラギノ角ゴ ProN W3" charset="-128"/>
                <a:cs typeface="+mn-cs"/>
                <a:sym typeface="Gill Sans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charset="0"/>
                <a:ea typeface="ヒラギノ角ゴ ProN W3" charset="-128"/>
                <a:cs typeface="+mn-cs"/>
                <a:sym typeface="Gill Sans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rgbClr val="000000"/>
                </a:solidFill>
                <a:latin typeface="Gill Sans" charset="0"/>
                <a:ea typeface="ヒラギノ角ゴ ProN W3" charset="-128"/>
                <a:cs typeface="+mn-cs"/>
                <a:sym typeface="Gill Sans" charset="0"/>
              </a:defRPr>
            </a:lvl5pPr>
            <a:lvl6pPr marL="2286000" algn="l" defTabSz="914400" rtl="0" eaLnBrk="1" latinLnBrk="0" hangingPunct="1">
              <a:defRPr sz="4200" kern="1200">
                <a:solidFill>
                  <a:srgbClr val="000000"/>
                </a:solidFill>
                <a:latin typeface="Gill Sans" charset="0"/>
                <a:ea typeface="ヒラギノ角ゴ ProN W3" charset="-128"/>
                <a:cs typeface="+mn-cs"/>
                <a:sym typeface="Gill Sans" charset="0"/>
              </a:defRPr>
            </a:lvl6pPr>
            <a:lvl7pPr marL="2743200" algn="l" defTabSz="914400" rtl="0" eaLnBrk="1" latinLnBrk="0" hangingPunct="1">
              <a:defRPr sz="4200" kern="1200">
                <a:solidFill>
                  <a:srgbClr val="000000"/>
                </a:solidFill>
                <a:latin typeface="Gill Sans" charset="0"/>
                <a:ea typeface="ヒラギノ角ゴ ProN W3" charset="-128"/>
                <a:cs typeface="+mn-cs"/>
                <a:sym typeface="Gill Sans" charset="0"/>
              </a:defRPr>
            </a:lvl7pPr>
            <a:lvl8pPr marL="3200400" algn="l" defTabSz="914400" rtl="0" eaLnBrk="1" latinLnBrk="0" hangingPunct="1">
              <a:defRPr sz="4200" kern="1200">
                <a:solidFill>
                  <a:srgbClr val="000000"/>
                </a:solidFill>
                <a:latin typeface="Gill Sans" charset="0"/>
                <a:ea typeface="ヒラギノ角ゴ ProN W3" charset="-128"/>
                <a:cs typeface="+mn-cs"/>
                <a:sym typeface="Gill Sans" charset="0"/>
              </a:defRPr>
            </a:lvl8pPr>
            <a:lvl9pPr marL="3657600" algn="l" defTabSz="914400" rtl="0" eaLnBrk="1" latinLnBrk="0" hangingPunct="1">
              <a:defRPr sz="4200" kern="1200">
                <a:solidFill>
                  <a:srgbClr val="000000"/>
                </a:solidFill>
                <a:latin typeface="Gill Sans" charset="0"/>
                <a:ea typeface="ヒラギノ角ゴ ProN W3" charset="-128"/>
                <a:cs typeface="+mn-cs"/>
                <a:sym typeface="Gill Sans" charset="0"/>
              </a:defRPr>
            </a:lvl9pPr>
          </a:lstStyle>
          <a:p>
            <a:r>
              <a:rPr lang="en-US" sz="800" i="1" dirty="0">
                <a:noFill/>
                <a:ea typeface="ヒラギノ角ゴ ProN W3" charset="0"/>
              </a:rPr>
              <a:t>Zol</a:t>
            </a:r>
            <a:r>
              <a:rPr lang="en-US" sz="800" i="1" baseline="0" dirty="0">
                <a:noFill/>
                <a:ea typeface="ヒラギノ角ゴ ProN W3" charset="0"/>
              </a:rPr>
              <a:t>a </a:t>
            </a:r>
            <a:r>
              <a:rPr lang="en-US" sz="800" i="1" dirty="0">
                <a:noFill/>
                <a:ea typeface="ヒラギノ角ゴ ProN W3" charset="0"/>
              </a:rPr>
              <a:t>Confidential  </a:t>
            </a:r>
            <a:fld id="{4E42DEAB-D893-724B-BC38-8338FE00D7FA}" type="slidenum">
              <a:rPr lang="en-US" sz="800" smtClean="0">
                <a:noFill/>
              </a:rPr>
              <a:pPr/>
              <a:t>‹#›</a:t>
            </a:fld>
            <a:endParaRPr lang="en-US" sz="800" dirty="0">
              <a:noFill/>
            </a:endParaRPr>
          </a:p>
        </p:txBody>
      </p:sp>
      <p:grpSp>
        <p:nvGrpSpPr>
          <p:cNvPr id="20" name="LegendBoxes" hidden="1"/>
          <p:cNvGrpSpPr>
            <a:grpSpLocks/>
          </p:cNvGrpSpPr>
          <p:nvPr userDrawn="1"/>
        </p:nvGrpSpPr>
        <p:grpSpPr bwMode="gray">
          <a:xfrm>
            <a:off x="7958455" y="820942"/>
            <a:ext cx="779144" cy="1017201"/>
            <a:chOff x="4936" y="176"/>
            <a:chExt cx="481" cy="628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 userDrawn="1"/>
        </p:nvGrpSpPr>
        <p:grpSpPr bwMode="gray">
          <a:xfrm>
            <a:off x="7644206" y="820941"/>
            <a:ext cx="1093393" cy="745084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 userDrawn="1"/>
        </p:nvGrpSpPr>
        <p:grpSpPr bwMode="gray">
          <a:xfrm>
            <a:off x="7648970" y="820940"/>
            <a:ext cx="1088629" cy="216680"/>
            <a:chOff x="7673881" y="285750"/>
            <a:chExt cx="1066894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gray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gray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gray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 userDrawn="1"/>
        </p:nvGrpSpPr>
        <p:grpSpPr>
          <a:xfrm>
            <a:off x="7890252" y="820940"/>
            <a:ext cx="847347" cy="1333054"/>
            <a:chOff x="7769225" y="2105025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blackWhite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black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black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blackWhite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black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blackWhite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black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blackWhite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black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>
          <a:xfrm>
            <a:off x="615949" y="1291110"/>
            <a:ext cx="7729538" cy="42656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845774" y="6291271"/>
            <a:ext cx="2016125" cy="3587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fld id="{507934B1-5BCF-4BE1-B35B-D0A97C9EC8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8365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5" r:id="rId2"/>
    <p:sldLayoutId id="2147483678" r:id="rId3"/>
    <p:sldLayoutId id="2147483679" r:id="rId4"/>
    <p:sldLayoutId id="2147483680" r:id="rId5"/>
    <p:sldLayoutId id="2147483686" r:id="rId6"/>
    <p:sldLayoutId id="2147483685" r:id="rId7"/>
    <p:sldLayoutId id="2147483687" r:id="rId8"/>
    <p:sldLayoutId id="2147483690" r:id="rId9"/>
    <p:sldLayoutId id="2147483681" r:id="rId10"/>
    <p:sldLayoutId id="2147483691" r:id="rId11"/>
    <p:sldLayoutId id="2147483689" r:id="rId12"/>
    <p:sldLayoutId id="2147483682" r:id="rId13"/>
    <p:sldLayoutId id="2147483683" r:id="rId14"/>
    <p:sldLayoutId id="2147483684" r:id="rId15"/>
  </p:sldLayoutIdLst>
  <p:hf hdr="0" ftr="0" dt="0"/>
  <p:txStyles>
    <p:titleStyle>
      <a:lvl1pPr algn="ctr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en-US" sz="2600" b="0" baseline="0" noProof="0" dirty="0" smtClean="0">
          <a:solidFill>
            <a:srgbClr val="211F1E"/>
          </a:solidFill>
          <a:latin typeface="Aleo" charset="0"/>
          <a:ea typeface="Aleo" charset="0"/>
          <a:cs typeface="Aleo" charset="0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2400" baseline="0">
          <a:solidFill>
            <a:srgbClr val="211F1E"/>
          </a:solidFill>
          <a:latin typeface="Aleo" charset="0"/>
          <a:ea typeface="Aleo" charset="0"/>
          <a:cs typeface="Aleo" charset="0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800" baseline="0">
          <a:solidFill>
            <a:srgbClr val="211F1E"/>
          </a:solidFill>
          <a:latin typeface="Aleo" charset="0"/>
          <a:ea typeface="Aleo" charset="0"/>
          <a:cs typeface="Aleo" charset="0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rgbClr val="211F1E"/>
          </a:solidFill>
          <a:latin typeface="Proxima Nova" charset="0"/>
          <a:ea typeface="Proxima Nova" charset="0"/>
          <a:cs typeface="Proxima Nova" charset="0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rgbClr val="211F1E"/>
          </a:solidFill>
          <a:latin typeface="Proxima Nova" charset="0"/>
          <a:ea typeface="Proxima Nova" charset="0"/>
          <a:cs typeface="Proxima Nova" charset="0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rgbClr val="211F1E"/>
          </a:solidFill>
          <a:latin typeface="Proxima Nova" charset="0"/>
          <a:ea typeface="Proxima Nova" charset="0"/>
          <a:cs typeface="Proxima Nova" charset="0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8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18053" y="3044349"/>
            <a:ext cx="4929187" cy="632777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Predicting Customer Satisfac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18052" y="3722286"/>
            <a:ext cx="4929187" cy="632777"/>
          </a:xfrm>
        </p:spPr>
        <p:txBody>
          <a:bodyPr>
            <a:normAutofit fontScale="62500" lnSpcReduction="20000"/>
          </a:bodyPr>
          <a:lstStyle/>
          <a:p>
            <a:r>
              <a:rPr lang="en-US" dirty="0"/>
              <a:t>Rachel Livingston</a:t>
            </a:r>
          </a:p>
          <a:p>
            <a:r>
              <a:rPr lang="en-US" dirty="0"/>
              <a:t>Senior Director, Operations</a:t>
            </a:r>
          </a:p>
          <a:p>
            <a:r>
              <a:rPr lang="en-US" dirty="0"/>
              <a:t>Zola</a:t>
            </a:r>
          </a:p>
        </p:txBody>
      </p:sp>
    </p:spTree>
    <p:extLst>
      <p:ext uri="{BB962C8B-B14F-4D97-AF65-F5344CB8AC3E}">
        <p14:creationId xmlns:p14="http://schemas.microsoft.com/office/powerpoint/2010/main" val="6325867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891B76-45CB-2647-8D10-B93B625CC58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934B1-5BCF-4BE1-B35B-D0A97C9EC84A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445DE48-6F75-3D4D-9C27-D997F76DF5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ini importance of each featu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BFF9B64-88CC-9A49-9062-CFB46E95AD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3067" y="1030571"/>
            <a:ext cx="2343571" cy="450266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5C1EBA6-4D93-DB4A-B7C9-AA2CBA2F04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67543"/>
            <a:ext cx="8961438" cy="8327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6002136-7D01-9E46-BA0E-392704229739}"/>
              </a:ext>
            </a:extLst>
          </p:cNvPr>
          <p:cNvSpPr txBox="1"/>
          <p:nvPr/>
        </p:nvSpPr>
        <p:spPr>
          <a:xfrm>
            <a:off x="894555" y="2100159"/>
            <a:ext cx="358616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+mn-lt"/>
              </a:rPr>
              <a:t>Most important features:</a:t>
            </a:r>
          </a:p>
          <a:p>
            <a:endParaRPr lang="en-US" dirty="0">
              <a:latin typeface="+mn-lt"/>
            </a:endParaRPr>
          </a:p>
          <a:p>
            <a:r>
              <a:rPr lang="en-US" dirty="0">
                <a:latin typeface="+mn-lt"/>
              </a:rPr>
              <a:t>1. full resolution time</a:t>
            </a:r>
          </a:p>
          <a:p>
            <a:r>
              <a:rPr lang="en-US" dirty="0">
                <a:latin typeface="+mn-lt"/>
              </a:rPr>
              <a:t>2. first resolution time</a:t>
            </a:r>
          </a:p>
          <a:p>
            <a:r>
              <a:rPr lang="en-US" dirty="0">
                <a:latin typeface="+mn-lt"/>
              </a:rPr>
              <a:t>3. reopens</a:t>
            </a:r>
          </a:p>
          <a:p>
            <a:r>
              <a:rPr lang="en-US" dirty="0">
                <a:latin typeface="+mn-lt"/>
              </a:rPr>
              <a:t>4. wrap up code is registry</a:t>
            </a:r>
          </a:p>
          <a:p>
            <a:r>
              <a:rPr lang="en-US" dirty="0">
                <a:latin typeface="+mn-lt"/>
              </a:rPr>
              <a:t>5. the number of private comments</a:t>
            </a:r>
          </a:p>
        </p:txBody>
      </p:sp>
    </p:spTree>
    <p:extLst>
      <p:ext uri="{BB962C8B-B14F-4D97-AF65-F5344CB8AC3E}">
        <p14:creationId xmlns:p14="http://schemas.microsoft.com/office/powerpoint/2010/main" val="32000657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4CB39F5-EAE0-1B42-8DF0-727EFFCAE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Select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7BFF91A-338E-2A49-8783-281B7EA1838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934B1-5BCF-4BE1-B35B-D0A97C9EC84A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FB6827-40A2-C84A-8B3B-10BC894904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23925" y="2913562"/>
            <a:ext cx="2981326" cy="24585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K = 5</a:t>
            </a:r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 err="1"/>
              <a:t>full_resolution_time</a:t>
            </a:r>
            <a:endParaRPr lang="en-US" sz="2000" dirty="0"/>
          </a:p>
          <a:p>
            <a:r>
              <a:rPr lang="en-US" sz="2000" dirty="0" err="1">
                <a:solidFill>
                  <a:schemeClr val="accent6"/>
                </a:solidFill>
              </a:rPr>
              <a:t>private_comments</a:t>
            </a:r>
            <a:endParaRPr lang="en-US" sz="2000" dirty="0">
              <a:solidFill>
                <a:schemeClr val="accent6"/>
              </a:solidFill>
            </a:endParaRPr>
          </a:p>
          <a:p>
            <a:r>
              <a:rPr lang="en-US" sz="2000" dirty="0" err="1">
                <a:solidFill>
                  <a:schemeClr val="accent6"/>
                </a:solidFill>
              </a:rPr>
              <a:t>public_comments</a:t>
            </a:r>
            <a:endParaRPr lang="en-US" sz="2000" dirty="0">
              <a:solidFill>
                <a:schemeClr val="accent6"/>
              </a:solidFill>
            </a:endParaRPr>
          </a:p>
          <a:p>
            <a:r>
              <a:rPr lang="en-US" sz="2000" dirty="0"/>
              <a:t>reopens </a:t>
            </a:r>
          </a:p>
          <a:p>
            <a:r>
              <a:rPr lang="en-US" sz="2000" dirty="0">
                <a:solidFill>
                  <a:schemeClr val="accent6"/>
                </a:solidFill>
              </a:rPr>
              <a:t>repli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8EEC8D8-61A0-C04E-A200-1181FF8FF93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43463" y="2913562"/>
            <a:ext cx="3309938" cy="3044326"/>
          </a:xfrm>
        </p:spPr>
        <p:txBody>
          <a:bodyPr>
            <a:normAutofit/>
          </a:bodyPr>
          <a:lstStyle/>
          <a:p>
            <a:r>
              <a:rPr lang="en-US" sz="2000" dirty="0"/>
              <a:t>K = 7</a:t>
            </a:r>
          </a:p>
          <a:p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err="1"/>
              <a:t>agent_wait_time</a:t>
            </a: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err="1"/>
              <a:t>full_resolution_time</a:t>
            </a: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err="1"/>
              <a:t>private_comments</a:t>
            </a: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err="1"/>
              <a:t>public_comments</a:t>
            </a:r>
            <a:r>
              <a:rPr lang="en-US" sz="2000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reope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strike="sngStrike" dirty="0"/>
              <a:t>repl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err="1"/>
              <a:t>wrap_up_code_Registry</a:t>
            </a:r>
            <a:endParaRPr lang="en-US" sz="20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4FC6592-EDB1-A042-873C-40B437CA46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044" y="1108571"/>
            <a:ext cx="7785100" cy="163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551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4D017E6-E877-4246-BC1A-1E602732DD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934B1-5BCF-4BE1-B35B-D0A97C9EC84A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FD03D5-0CA9-644D-A365-5F480A9A69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Featur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B01FD1E-E0AE-104B-B92A-A74B771F78F3}"/>
              </a:ext>
            </a:extLst>
          </p:cNvPr>
          <p:cNvSpPr txBox="1"/>
          <p:nvPr/>
        </p:nvSpPr>
        <p:spPr>
          <a:xfrm>
            <a:off x="1380330" y="1714501"/>
            <a:ext cx="620077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+mn-lt"/>
              </a:rPr>
              <a:t>From the 2 lists, consolidate important features to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agent wait 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full resolution 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first resolution 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reope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wrap up code is regist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the number of private com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the number of public comments</a:t>
            </a:r>
          </a:p>
        </p:txBody>
      </p:sp>
    </p:spTree>
    <p:extLst>
      <p:ext uri="{BB962C8B-B14F-4D97-AF65-F5344CB8AC3E}">
        <p14:creationId xmlns:p14="http://schemas.microsoft.com/office/powerpoint/2010/main" val="5802055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D2DCB9A-86DB-C541-BF52-E8C65FB4A90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934B1-5BCF-4BE1-B35B-D0A97C9EC84A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8FB782-E791-C347-8581-7E4174BB2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NN Mod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7D3BBC2-C00A-344F-AE8F-CD97996576B1}"/>
              </a:ext>
            </a:extLst>
          </p:cNvPr>
          <p:cNvSpPr txBox="1"/>
          <p:nvPr/>
        </p:nvSpPr>
        <p:spPr>
          <a:xfrm>
            <a:off x="687386" y="1115947"/>
            <a:ext cx="758666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+mn-lt"/>
              </a:rPr>
              <a:t>Grid Search Parameter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latin typeface="+mn-lt"/>
              </a:rPr>
              <a:t>n_neighbors</a:t>
            </a:r>
            <a:r>
              <a:rPr lang="en-US" dirty="0">
                <a:latin typeface="+mn-lt"/>
              </a:rPr>
              <a:t>: 2 – 1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metric: </a:t>
            </a:r>
            <a:r>
              <a:rPr lang="en-US" dirty="0" err="1">
                <a:latin typeface="+mn-lt"/>
              </a:rPr>
              <a:t>minkowski</a:t>
            </a:r>
            <a:r>
              <a:rPr lang="en-US" dirty="0">
                <a:latin typeface="+mn-lt"/>
              </a:rPr>
              <a:t>, </a:t>
            </a:r>
            <a:r>
              <a:rPr lang="en-US" dirty="0" err="1">
                <a:latin typeface="+mn-lt"/>
              </a:rPr>
              <a:t>manhattan</a:t>
            </a:r>
            <a:r>
              <a:rPr lang="en-US" dirty="0">
                <a:latin typeface="+mn-lt"/>
              </a:rPr>
              <a:t>, </a:t>
            </a:r>
            <a:r>
              <a:rPr lang="en-US" dirty="0" err="1">
                <a:latin typeface="+mn-lt"/>
              </a:rPr>
              <a:t>euclidean</a:t>
            </a:r>
            <a:endParaRPr lang="en-US" dirty="0">
              <a:latin typeface="+mn-lt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B60C22F-0C7C-CB41-8FB4-F76AE1DF965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561" y="2593975"/>
            <a:ext cx="6578600" cy="21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5677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64B29A-CAAD-2944-934B-5A460102E7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934B1-5BCF-4BE1-B35B-D0A97C9EC84A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FADAB11-B7B7-B844-B6F1-8D60108133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NN Model Resul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4F0F554-4388-C248-AD54-EDF4B2E37FF7}"/>
              </a:ext>
            </a:extLst>
          </p:cNvPr>
          <p:cNvSpPr txBox="1"/>
          <p:nvPr/>
        </p:nvSpPr>
        <p:spPr>
          <a:xfrm>
            <a:off x="473868" y="1175359"/>
            <a:ext cx="25574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+mn-lt"/>
              </a:rPr>
              <a:t>With all featur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65F09FC-804C-0C4A-A8D7-46FDEFF09FBD}"/>
              </a:ext>
            </a:extLst>
          </p:cNvPr>
          <p:cNvSpPr txBox="1"/>
          <p:nvPr/>
        </p:nvSpPr>
        <p:spPr>
          <a:xfrm>
            <a:off x="473868" y="3480566"/>
            <a:ext cx="25574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+mn-lt"/>
              </a:rPr>
              <a:t>With select features: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EE437A0-504B-C344-851B-8516915356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868" y="1453938"/>
            <a:ext cx="8013700" cy="18161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98C2078-E337-AB4B-A8D9-BDDBF45679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868" y="3819120"/>
            <a:ext cx="8013700" cy="1542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779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88318FE-F541-374D-81E4-15E610832C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934B1-5BCF-4BE1-B35B-D0A97C9EC84A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229802A-6775-6949-8356-69BD90F801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stic Regresso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377AD2B-D258-2B40-805C-B0C907D6B497}"/>
              </a:ext>
            </a:extLst>
          </p:cNvPr>
          <p:cNvSpPr txBox="1"/>
          <p:nvPr/>
        </p:nvSpPr>
        <p:spPr>
          <a:xfrm>
            <a:off x="687386" y="1115947"/>
            <a:ext cx="758666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+mn-lt"/>
              </a:rPr>
              <a:t>Grid Search Parameter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latin typeface="+mn-lt"/>
              </a:rPr>
              <a:t>polynomial_features_degree</a:t>
            </a:r>
            <a:r>
              <a:rPr lang="en-US" dirty="0">
                <a:latin typeface="+mn-lt"/>
              </a:rPr>
              <a:t>: 1, 2, 3, 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latin typeface="+mn-lt"/>
              </a:rPr>
              <a:t>logisticregression</a:t>
            </a:r>
            <a:r>
              <a:rPr lang="en-US" dirty="0">
                <a:latin typeface="+mn-lt"/>
              </a:rPr>
              <a:t>__C: [0.1, 1, 5, 10, 100]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1E422FF-D70D-514E-9880-C8A6EB45DB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65725"/>
            <a:ext cx="8961438" cy="116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2490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4770EAF-C07F-7B4A-B54C-74DEF2B1559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934B1-5BCF-4BE1-B35B-D0A97C9EC84A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DEA8A8-1C43-244D-9736-76A4B33EEE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stic Regressor Resul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2706E49-6916-A647-A90B-A4149AD5E65F}"/>
              </a:ext>
            </a:extLst>
          </p:cNvPr>
          <p:cNvSpPr txBox="1"/>
          <p:nvPr/>
        </p:nvSpPr>
        <p:spPr>
          <a:xfrm>
            <a:off x="473868" y="1220644"/>
            <a:ext cx="25574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+mn-lt"/>
              </a:rPr>
              <a:t>With all featur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340D6C-131E-B043-8571-97229F60C009}"/>
              </a:ext>
            </a:extLst>
          </p:cNvPr>
          <p:cNvSpPr txBox="1"/>
          <p:nvPr/>
        </p:nvSpPr>
        <p:spPr>
          <a:xfrm>
            <a:off x="473868" y="3852862"/>
            <a:ext cx="25574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+mn-lt"/>
              </a:rPr>
              <a:t>With select features: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BAE4427-CF8B-A446-B30F-FC07AE1A75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0168" y="4146558"/>
            <a:ext cx="6261100" cy="23241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170DCDC-E49A-494E-9FBA-EAD828E1C4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2340" y="1584527"/>
            <a:ext cx="5796755" cy="2228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1616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F26406A-9768-1F45-B5A6-47BB72581D6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934B1-5BCF-4BE1-B35B-D0A97C9EC84A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38E091D-D83B-4A46-B27F-EACA72B731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19A7B15-904A-0740-A34C-42E7B2761AD9}"/>
              </a:ext>
            </a:extLst>
          </p:cNvPr>
          <p:cNvSpPr txBox="1"/>
          <p:nvPr/>
        </p:nvSpPr>
        <p:spPr>
          <a:xfrm>
            <a:off x="700088" y="1271588"/>
            <a:ext cx="7858125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+mn-lt"/>
              </a:rPr>
              <a:t>Model performanc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KNN was the best model with accuracy of 93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Decision tree most useful model in terms of practica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latin typeface="+mn-lt"/>
              </a:rPr>
              <a:t>Logisitic</a:t>
            </a:r>
            <a:r>
              <a:rPr lang="en-US" dirty="0">
                <a:latin typeface="+mn-lt"/>
              </a:rPr>
              <a:t> regressor was good at predicting ”good” tickets but not “bad” tickets</a:t>
            </a:r>
          </a:p>
          <a:p>
            <a:endParaRPr lang="en-US" dirty="0">
              <a:latin typeface="+mn-lt"/>
            </a:endParaRPr>
          </a:p>
          <a:p>
            <a:endParaRPr lang="en-US" dirty="0">
              <a:latin typeface="+mn-lt"/>
            </a:endParaRPr>
          </a:p>
          <a:p>
            <a:r>
              <a:rPr lang="en-US" dirty="0">
                <a:latin typeface="+mn-lt"/>
              </a:rPr>
              <a:t>Feature Selec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Tickets that take longer to solve in both time and conversation are more likely to be ba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These tickets are usually “hard” tick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+mn-lt"/>
            </a:endParaRPr>
          </a:p>
          <a:p>
            <a:endParaRPr lang="en-US" dirty="0">
              <a:latin typeface="+mn-lt"/>
            </a:endParaRPr>
          </a:p>
          <a:p>
            <a:endParaRPr lang="en-US" dirty="0">
              <a:latin typeface="+mn-lt"/>
            </a:endParaRPr>
          </a:p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948739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49A9AF-0252-3E4B-927D-C15E9357D3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934B1-5BCF-4BE1-B35B-D0A97C9EC84A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F4125F-CF6D-5448-888C-B4C836C3B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FDD8C8-3DEA-7749-BA42-CDD700A57C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735" y="1097930"/>
            <a:ext cx="6687344" cy="203747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B603E67-B5B6-7141-A3BD-18CA9795A234}"/>
              </a:ext>
            </a:extLst>
          </p:cNvPr>
          <p:cNvSpPr txBox="1"/>
          <p:nvPr/>
        </p:nvSpPr>
        <p:spPr>
          <a:xfrm>
            <a:off x="1049735" y="3500437"/>
            <a:ext cx="718661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+mn-lt"/>
              </a:rPr>
              <a:t>Create an automation with the following conditio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Ticket is open longer than 6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Ticket has been reopen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Ticket has a “private comment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Tag tickets as “predicted bad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Measure discrepancy between predicted bad and rated b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Measure volume of predicted bad tickets</a:t>
            </a:r>
          </a:p>
        </p:txBody>
      </p:sp>
    </p:spTree>
    <p:extLst>
      <p:ext uri="{BB962C8B-B14F-4D97-AF65-F5344CB8AC3E}">
        <p14:creationId xmlns:p14="http://schemas.microsoft.com/office/powerpoint/2010/main" val="17547640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7E759EF-C9BC-464D-AFAE-477687D8923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Questions?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63F163D-D581-004B-9374-E84EB1E4785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6945313" y="6291263"/>
            <a:ext cx="2016125" cy="358775"/>
          </a:xfrm>
        </p:spPr>
        <p:txBody>
          <a:bodyPr/>
          <a:lstStyle/>
          <a:p>
            <a:fld id="{507934B1-5BCF-4BE1-B35B-D0A97C9EC84A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86091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913EA96-F866-5948-9345-1E0E8EC32F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934B1-5BCF-4BE1-B35B-D0A97C9EC84A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7D64DAC-70D4-5E4A-9723-4717BE5CD7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Propos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2259652-A2CA-F54C-96AC-004D579A0487}"/>
              </a:ext>
            </a:extLst>
          </p:cNvPr>
          <p:cNvSpPr txBox="1"/>
          <p:nvPr/>
        </p:nvSpPr>
        <p:spPr>
          <a:xfrm>
            <a:off x="501805" y="1250499"/>
            <a:ext cx="71702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+mn-lt"/>
              </a:rPr>
              <a:t>Problem Statement: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40507FE-FE29-8C4B-BFED-2FEE6555CE36}"/>
              </a:ext>
            </a:extLst>
          </p:cNvPr>
          <p:cNvSpPr txBox="1"/>
          <p:nvPr/>
        </p:nvSpPr>
        <p:spPr>
          <a:xfrm>
            <a:off x="685800" y="1957388"/>
            <a:ext cx="78152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+mn-lt"/>
              </a:rPr>
              <a:t>Create a model to predict the customer satisfaction rating on incoming and in progress support tickets so they can be escalated in real time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C856245-0F7A-C34A-A927-12CE9F29D8A7}"/>
              </a:ext>
            </a:extLst>
          </p:cNvPr>
          <p:cNvSpPr txBox="1"/>
          <p:nvPr/>
        </p:nvSpPr>
        <p:spPr>
          <a:xfrm>
            <a:off x="501805" y="3517449"/>
            <a:ext cx="71702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+mn-lt"/>
              </a:rPr>
              <a:t>Business Case: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82F949C-1DC7-7C4C-9E3F-5A37E99F5EB0}"/>
              </a:ext>
            </a:extLst>
          </p:cNvPr>
          <p:cNvSpPr txBox="1"/>
          <p:nvPr/>
        </p:nvSpPr>
        <p:spPr>
          <a:xfrm>
            <a:off x="685800" y="4224338"/>
            <a:ext cx="781526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CSAT is a KPI on which my team is evalua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Once a rating has been given, it can’t be chang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The only lever to raise your CSAT score is to get fewer bad ratings</a:t>
            </a:r>
          </a:p>
        </p:txBody>
      </p:sp>
    </p:spTree>
    <p:extLst>
      <p:ext uri="{BB962C8B-B14F-4D97-AF65-F5344CB8AC3E}">
        <p14:creationId xmlns:p14="http://schemas.microsoft.com/office/powerpoint/2010/main" val="32304301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913EA96-F866-5948-9345-1E0E8EC32F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934B1-5BCF-4BE1-B35B-D0A97C9EC84A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7D64DAC-70D4-5E4A-9723-4717BE5CD7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ition of CSA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E6BE59B-8999-264E-86FA-025484BC98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4005" y="3383280"/>
            <a:ext cx="4731769" cy="208123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96859C2-B77D-2C41-9FC8-E8D57DCBD255}"/>
              </a:ext>
            </a:extLst>
          </p:cNvPr>
          <p:cNvSpPr txBox="1"/>
          <p:nvPr/>
        </p:nvSpPr>
        <p:spPr>
          <a:xfrm>
            <a:off x="734997" y="1475798"/>
            <a:ext cx="775009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n-lt"/>
              </a:rPr>
              <a:t>CSAT is a measure of the number of positive responses to a simple question:</a:t>
            </a:r>
          </a:p>
          <a:p>
            <a:pPr algn="ctr"/>
            <a:endParaRPr lang="en-US" dirty="0">
              <a:latin typeface="+mn-lt"/>
            </a:endParaRPr>
          </a:p>
          <a:p>
            <a:pPr algn="ctr"/>
            <a:r>
              <a:rPr lang="en-US" dirty="0">
                <a:latin typeface="+mn-lt"/>
              </a:rPr>
              <a:t>How would you rate the support you received?</a:t>
            </a:r>
          </a:p>
          <a:p>
            <a:pPr algn="ctr"/>
            <a:endParaRPr lang="en-US" dirty="0">
              <a:latin typeface="+mn-lt"/>
            </a:endParaRPr>
          </a:p>
          <a:p>
            <a:pPr algn="ctr"/>
            <a:r>
              <a:rPr lang="en-US" dirty="0">
                <a:latin typeface="+mn-lt"/>
              </a:rPr>
              <a:t>Satisfaction Score = [Number of positive ratings]/[Total number of scores received]</a:t>
            </a:r>
          </a:p>
        </p:txBody>
      </p:sp>
    </p:spTree>
    <p:extLst>
      <p:ext uri="{BB962C8B-B14F-4D97-AF65-F5344CB8AC3E}">
        <p14:creationId xmlns:p14="http://schemas.microsoft.com/office/powerpoint/2010/main" val="8052989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94229E9-84DE-DD4E-A4DB-94550EEA84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934B1-5BCF-4BE1-B35B-D0A97C9EC84A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A0ECEFD-BA75-3C40-8D7B-C3979F4228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DA and Data Summary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9119FE0-E383-0B4E-B947-2177103F4325}"/>
              </a:ext>
            </a:extLst>
          </p:cNvPr>
          <p:cNvGrpSpPr/>
          <p:nvPr/>
        </p:nvGrpSpPr>
        <p:grpSpPr>
          <a:xfrm>
            <a:off x="517760" y="2749322"/>
            <a:ext cx="7925915" cy="2266165"/>
            <a:chOff x="440845" y="1198570"/>
            <a:chExt cx="7925915" cy="226616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6931427-0895-BA4E-8E2B-39B5CBD55DE5}"/>
                </a:ext>
              </a:extLst>
            </p:cNvPr>
            <p:cNvSpPr txBox="1"/>
            <p:nvPr/>
          </p:nvSpPr>
          <p:spPr>
            <a:xfrm>
              <a:off x="440845" y="1198570"/>
              <a:ext cx="717023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+mn-lt"/>
                </a:rPr>
                <a:t>22 data attributes used*: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C06CB0D-399F-854F-9F58-0BFAF64FB494}"/>
                </a:ext>
              </a:extLst>
            </p:cNvPr>
            <p:cNvSpPr txBox="1"/>
            <p:nvPr/>
          </p:nvSpPr>
          <p:spPr>
            <a:xfrm>
              <a:off x="777240" y="1648853"/>
              <a:ext cx="7589520" cy="1815882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latin typeface="+mn-lt"/>
                </a:rPr>
                <a:t>customer type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latin typeface="+mn-lt"/>
                </a:rPr>
                <a:t>hour ticket created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latin typeface="+mn-lt"/>
                </a:rPr>
                <a:t>agent wait time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latin typeface="+mn-lt"/>
                </a:rPr>
                <a:t>assign time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latin typeface="+mn-lt"/>
                </a:rPr>
                <a:t>first reply time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latin typeface="+mn-lt"/>
                </a:rPr>
                <a:t>first resolution time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latin typeface="+mn-lt"/>
                </a:rPr>
                <a:t>full resolution time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latin typeface="+mn-lt"/>
                </a:rPr>
                <a:t>private comments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latin typeface="+mn-lt"/>
                </a:rPr>
                <a:t>public comments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latin typeface="+mn-lt"/>
                </a:rPr>
                <a:t>agent stations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latin typeface="+mn-lt"/>
                </a:rPr>
                <a:t>reopens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latin typeface="+mn-lt"/>
                </a:rPr>
                <a:t>replies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latin typeface="+mn-lt"/>
                </a:rPr>
                <a:t>wrap up code (11 options)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8CD920F0-FD73-874A-9CD2-B5937C1CB925}"/>
              </a:ext>
            </a:extLst>
          </p:cNvPr>
          <p:cNvGrpSpPr/>
          <p:nvPr/>
        </p:nvGrpSpPr>
        <p:grpSpPr>
          <a:xfrm>
            <a:off x="685957" y="1191900"/>
            <a:ext cx="7925915" cy="1035058"/>
            <a:chOff x="440845" y="1198570"/>
            <a:chExt cx="7925915" cy="103505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64C3A830-4196-3E4F-9D9C-DFC0327C6920}"/>
                </a:ext>
              </a:extLst>
            </p:cNvPr>
            <p:cNvSpPr txBox="1"/>
            <p:nvPr/>
          </p:nvSpPr>
          <p:spPr>
            <a:xfrm>
              <a:off x="440845" y="1198570"/>
              <a:ext cx="717023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+mn-lt"/>
                </a:rPr>
                <a:t>Data Set: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91EA8AF-D96F-614B-858F-A4359A711A72}"/>
                </a:ext>
              </a:extLst>
            </p:cNvPr>
            <p:cNvSpPr txBox="1"/>
            <p:nvPr/>
          </p:nvSpPr>
          <p:spPr>
            <a:xfrm>
              <a:off x="777240" y="1648853"/>
              <a:ext cx="7589520" cy="584775"/>
            </a:xfrm>
            <a:prstGeom prst="rect">
              <a:avLst/>
            </a:prstGeom>
            <a:noFill/>
          </p:spPr>
          <p:txBody>
            <a:bodyPr wrap="square" numCol="1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latin typeface="+mn-lt"/>
                </a:rPr>
                <a:t>24,552 rated support ticket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latin typeface="+mn-lt"/>
                </a:rPr>
                <a:t>2019 calendar year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971140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481A232-598D-2F4C-A6CD-81E3EF4F3D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934B1-5BCF-4BE1-B35B-D0A97C9EC84A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51F03C2-6F6E-D94D-840A-F0A0E9CD1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DA and Cleaning Step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E2C8BE7-3193-2A4B-949E-8A6F7BFB58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17881"/>
            <a:ext cx="8961438" cy="190917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F75D52-456A-8844-8D40-310160AF2D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3026691"/>
            <a:ext cx="8961438" cy="148870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8C66B25-C628-2A44-8ACA-781B1B8D7596}"/>
              </a:ext>
            </a:extLst>
          </p:cNvPr>
          <p:cNvSpPr txBox="1"/>
          <p:nvPr/>
        </p:nvSpPr>
        <p:spPr>
          <a:xfrm>
            <a:off x="473549" y="4838183"/>
            <a:ext cx="63722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+mn-lt"/>
              </a:rPr>
              <a:t>Key cleaning step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Used SMOTE to deal with imbalanced classes</a:t>
            </a:r>
          </a:p>
        </p:txBody>
      </p:sp>
    </p:spTree>
    <p:extLst>
      <p:ext uri="{BB962C8B-B14F-4D97-AF65-F5344CB8AC3E}">
        <p14:creationId xmlns:p14="http://schemas.microsoft.com/office/powerpoint/2010/main" val="40340547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2A800D-858E-0543-8822-3C57644BA32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934B1-5BCF-4BE1-B35B-D0A97C9EC84A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DEC6420-9F90-C645-A007-73679728D7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relation and Initial Hypothesi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7636EBE-E430-7E46-B32A-A0C0EC6755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514" y="2263614"/>
            <a:ext cx="7788407" cy="348996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5EA93A3-7BD1-424E-B50D-D3B78258E82D}"/>
              </a:ext>
            </a:extLst>
          </p:cNvPr>
          <p:cNvSpPr txBox="1"/>
          <p:nvPr/>
        </p:nvSpPr>
        <p:spPr>
          <a:xfrm>
            <a:off x="1179577" y="1108574"/>
            <a:ext cx="63722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Looked at correlation of all attributes to satisfa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Six features appeared to have the largest impact</a:t>
            </a:r>
          </a:p>
        </p:txBody>
      </p:sp>
    </p:spTree>
    <p:extLst>
      <p:ext uri="{BB962C8B-B14F-4D97-AF65-F5344CB8AC3E}">
        <p14:creationId xmlns:p14="http://schemas.microsoft.com/office/powerpoint/2010/main" val="2500883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4397CA-95ED-324D-AA1B-241EC32B117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934B1-5BCF-4BE1-B35B-D0A97C9EC84A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86E931F-902B-AF48-B355-00914B9FC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 Feature Analysi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10B3007-E41A-3147-9531-014D18A4A5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7787" y="3769623"/>
            <a:ext cx="2802573" cy="295185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47ECCE1-2875-BD41-8661-BE77319E76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16" y="3797765"/>
            <a:ext cx="2780156" cy="292370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1CFCE0D-1162-144F-84EF-4F768A2398F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0699" y="824315"/>
            <a:ext cx="2839661" cy="286381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CBA7AB5-7917-8546-A6C2-20991C18CE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5765" y="786938"/>
            <a:ext cx="2815672" cy="289558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4115EAC-FDEE-4346-AD15-9803EF3DD16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16" y="832684"/>
            <a:ext cx="2790020" cy="285544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4799E40-C60D-554E-8298-DC7F972B754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0762" y="3753948"/>
            <a:ext cx="2860675" cy="2967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8471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D3885D6B-C21B-094F-AC54-58A3FEB460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450" y="2465354"/>
            <a:ext cx="4943475" cy="25799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8898E42-FBA1-C542-B7C1-D1F2C0D538B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934B1-5BCF-4BE1-B35B-D0A97C9EC84A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413050C-AA18-ED45-AB70-DF5865C02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Selection: Decision Tre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92104DD-B806-F94B-9F59-AEF09B3ABD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0432" y="1744022"/>
            <a:ext cx="4389555" cy="405447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A8AE527-6061-8E49-9FA9-03C291AEB486}"/>
              </a:ext>
            </a:extLst>
          </p:cNvPr>
          <p:cNvSpPr txBox="1"/>
          <p:nvPr/>
        </p:nvSpPr>
        <p:spPr>
          <a:xfrm>
            <a:off x="700088" y="871538"/>
            <a:ext cx="74580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Optimized depth of tree using AUC sc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Minimal different between 3 and 5 layers, picked 3</a:t>
            </a:r>
          </a:p>
        </p:txBody>
      </p:sp>
    </p:spTree>
    <p:extLst>
      <p:ext uri="{BB962C8B-B14F-4D97-AF65-F5344CB8AC3E}">
        <p14:creationId xmlns:p14="http://schemas.microsoft.com/office/powerpoint/2010/main" val="4822369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8898E42-FBA1-C542-B7C1-D1F2C0D538B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934B1-5BCF-4BE1-B35B-D0A97C9EC84A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413050C-AA18-ED45-AB70-DF5865C02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Selection: Decision Tre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1E3ADB4-C72A-6F43-BD21-59FE64D335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980" y="1402081"/>
            <a:ext cx="8294458" cy="254508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D172FCB-98D9-FF47-B35E-D4F3DEFE098C}"/>
              </a:ext>
            </a:extLst>
          </p:cNvPr>
          <p:cNvSpPr/>
          <p:nvPr/>
        </p:nvSpPr>
        <p:spPr>
          <a:xfrm>
            <a:off x="7223760" y="3307080"/>
            <a:ext cx="1566227" cy="929640"/>
          </a:xfrm>
          <a:prstGeom prst="rect">
            <a:avLst/>
          </a:prstGeom>
          <a:noFill/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dirty="0" err="1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DECD471-4529-564B-A2D2-5775BC69F2E8}"/>
              </a:ext>
            </a:extLst>
          </p:cNvPr>
          <p:cNvSpPr txBox="1"/>
          <p:nvPr/>
        </p:nvSpPr>
        <p:spPr>
          <a:xfrm>
            <a:off x="1171575" y="4514850"/>
            <a:ext cx="64722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Highlighted node captured 77% of all bad tickets</a:t>
            </a:r>
          </a:p>
        </p:txBody>
      </p:sp>
    </p:spTree>
    <p:extLst>
      <p:ext uri="{BB962C8B-B14F-4D97-AF65-F5344CB8AC3E}">
        <p14:creationId xmlns:p14="http://schemas.microsoft.com/office/powerpoint/2010/main" val="18455258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True"/>
  <p:tag name="PREVIOUSNAME" val="C:\Users\Justin Browne\Documents\Justin Personal Files\Zola Project\Zola Series B Draft - 11 May 2015.pptx"/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/&gt;&lt;m_precDefaultQuarter/&gt;&lt;m_precDefaultMonth/&gt;&lt;m_precDefaultWeek/&gt;&lt;m_precDefaultDay/&gt;&lt;m_mruColor&gt;&lt;m_vecMRU length=&quot;2&quot;&gt;&lt;elem m_fUsage=&quot;3.53488690000000010000E+000&quot;&gt;&lt;m_msothmcolidx val=&quot;0&quot;/&gt;&lt;m_rgb r=&quot;0&quot; g=&quot;83&quot; b=&quot;9b&quot;/&gt;&lt;m_ppcolschidx tagver0=&quot;23004&quot; tagname0=&quot;m_ppcolschidxUNRECOGNIZED&quot; val=&quot;0&quot;/&gt;&lt;m_nBrightness val=&quot;0&quot;/&gt;&lt;/elem&gt;&lt;elem m_fUsage=&quot;2.16044100000000010000E+000&quot;&gt;&lt;m_msothmcolidx val=&quot;0&quot;/&gt;&lt;m_rgb r=&quot;50&quot; g=&quot;b2&quot; b=&quot;bd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1_Firm Format - English (US)">
  <a:themeElements>
    <a:clrScheme name="Custom 1">
      <a:dk1>
        <a:srgbClr val="000000"/>
      </a:dk1>
      <a:lt1>
        <a:srgbClr val="FFFFFF"/>
      </a:lt1>
      <a:dk2>
        <a:srgbClr val="7F7F7F"/>
      </a:dk2>
      <a:lt2>
        <a:srgbClr val="FFFFFF"/>
      </a:lt2>
      <a:accent1>
        <a:srgbClr val="00B3C0"/>
      </a:accent1>
      <a:accent2>
        <a:srgbClr val="335F80"/>
      </a:accent2>
      <a:accent3>
        <a:srgbClr val="C5E4E9"/>
      </a:accent3>
      <a:accent4>
        <a:srgbClr val="DCDDDD"/>
      </a:accent4>
      <a:accent5>
        <a:srgbClr val="D5C0A0"/>
      </a:accent5>
      <a:accent6>
        <a:srgbClr val="C61D3E"/>
      </a:accent6>
      <a:hlink>
        <a:srgbClr val="003B57"/>
      </a:hlink>
      <a:folHlink>
        <a:srgbClr val="002960"/>
      </a:folHlink>
    </a:clrScheme>
    <a:fontScheme name="Custom 5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0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>
            <a:latin typeface="+mn-lt"/>
          </a:defRPr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2" id="{B19AA594-1047-474D-8208-2C82A2D01149}" vid="{5739F14C-DF5C-5645-8F7B-CF6DC545712B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Zola Template</Template>
  <TotalTime>7297</TotalTime>
  <Words>675</Words>
  <Application>Microsoft Macintosh PowerPoint</Application>
  <PresentationFormat>Custom</PresentationFormat>
  <Paragraphs>150</Paragraphs>
  <Slides>19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8" baseType="lpstr">
      <vt:lpstr>ヒラギノ角ゴ ProN W3</vt:lpstr>
      <vt:lpstr>Aleo</vt:lpstr>
      <vt:lpstr>Arial</vt:lpstr>
      <vt:lpstr>Gill Sans</vt:lpstr>
      <vt:lpstr>Museo Slab 500</vt:lpstr>
      <vt:lpstr>Proxima Nova</vt:lpstr>
      <vt:lpstr>Proxima Nova Rg</vt:lpstr>
      <vt:lpstr>1_Firm Format - English (US)</vt:lpstr>
      <vt:lpstr>think-cell Slide</vt:lpstr>
      <vt:lpstr>PowerPoint Presentation</vt:lpstr>
      <vt:lpstr>Project Proposal</vt:lpstr>
      <vt:lpstr>Definition of CSAT</vt:lpstr>
      <vt:lpstr>EDA and Data Summary</vt:lpstr>
      <vt:lpstr>EDA and Cleaning Steps</vt:lpstr>
      <vt:lpstr>Correlation and Initial Hypothesis</vt:lpstr>
      <vt:lpstr>Top Feature Analysis</vt:lpstr>
      <vt:lpstr>Feature Selection: Decision Tree</vt:lpstr>
      <vt:lpstr>Feature Selection: Decision Tree</vt:lpstr>
      <vt:lpstr>Gini importance of each feature</vt:lpstr>
      <vt:lpstr>Feature Selection</vt:lpstr>
      <vt:lpstr>Final Features</vt:lpstr>
      <vt:lpstr>KNN Model</vt:lpstr>
      <vt:lpstr>KNN Model Results</vt:lpstr>
      <vt:lpstr>Logistic Regressor</vt:lpstr>
      <vt:lpstr>Logistic Regressor Results</vt:lpstr>
      <vt:lpstr>Summary</vt:lpstr>
      <vt:lpstr>Next Steps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Rachel Livingston</dc:creator>
  <cp:keywords/>
  <dc:description/>
  <cp:lastModifiedBy>Rachel Livingston</cp:lastModifiedBy>
  <cp:revision>92</cp:revision>
  <cp:lastPrinted>2016-10-31T18:33:57Z</cp:lastPrinted>
  <dcterms:created xsi:type="dcterms:W3CDTF">2019-04-11T16:57:40Z</dcterms:created>
  <dcterms:modified xsi:type="dcterms:W3CDTF">2019-09-23T01:19:1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tru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